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9" r:id="rId7"/>
    <p:sldId id="270" r:id="rId8"/>
    <p:sldId id="268" r:id="rId9"/>
    <p:sldId id="273" r:id="rId10"/>
    <p:sldId id="262" r:id="rId11"/>
    <p:sldId id="264" r:id="rId12"/>
    <p:sldId id="265" r:id="rId13"/>
    <p:sldId id="267" r:id="rId14"/>
  </p:sldIdLst>
  <p:sldSz cx="12192000" cy="6858000"/>
  <p:notesSz cx="6858000" cy="9144000"/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3840">
          <p15:clr>
            <a:srgbClr val="A4A3A4"/>
          </p15:clr>
        </p15:guide>
        <p15:guide id="2" pos="7197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8" roundtripDataSignature="AMtx7mhh45N/MJPjc+Lt+lDl6B7Js7k1j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88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2142" y="120"/>
      </p:cViewPr>
      <p:guideLst>
        <p:guide pos="3840"/>
        <p:guide pos="7197"/>
        <p:guide orient="horz" pos="2160"/>
      </p:guideLst>
    </p:cSldViewPr>
  </p:slideViewPr>
  <p:notesTextViewPr>
    <p:cViewPr>
      <p:scale>
        <a:sx n="400" d="100"/>
        <a:sy n="4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customschemas.google.com/relationships/presentationmetadata" Target="meta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oogle Shape;50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57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1" name="Google Shape;57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4" name="Google Shape;584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" name="Google Shape;59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1" name="Google Shape;59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Google Shape;602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3" name="Google Shape;60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0" name="Google Shape;51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6" name="Google Shape;51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8" name="Google Shape;52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22248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8" name="Google Shape;52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16808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6" name="Google Shape;51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1578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6" name="Google Shape;51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75932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oogle Shape;16;p14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17" name="Google Shape;17;p14"/>
            <p:cNvSpPr/>
            <p:nvPr/>
          </p:nvSpPr>
          <p:spPr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l" t="t" r="r" b="b"/>
              <a:pathLst>
                <a:path w="2038" h="1169" extrusionOk="0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14"/>
            <p:cNvSpPr/>
            <p:nvPr/>
          </p:nvSpPr>
          <p:spPr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l" t="t" r="r" b="b"/>
              <a:pathLst>
                <a:path w="1549" h="1017" extrusionOk="0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14"/>
            <p:cNvSpPr/>
            <p:nvPr/>
          </p:nvSpPr>
          <p:spPr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l" t="t" r="r" b="b"/>
              <a:pathLst>
                <a:path w="1688" h="1066" extrusionOk="0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14"/>
            <p:cNvSpPr/>
            <p:nvPr/>
          </p:nvSpPr>
          <p:spPr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l" t="t" r="r" b="b"/>
              <a:pathLst>
                <a:path w="2171" h="1326" extrusionOk="0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14"/>
            <p:cNvSpPr/>
            <p:nvPr/>
          </p:nvSpPr>
          <p:spPr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l" t="t" r="r" b="b"/>
              <a:pathLst>
                <a:path w="106" h="143" extrusionOk="0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14"/>
            <p:cNvSpPr/>
            <p:nvPr/>
          </p:nvSpPr>
          <p:spPr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l" t="t" r="r" b="b"/>
              <a:pathLst>
                <a:path w="2330" h="1452" extrusionOk="0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14"/>
            <p:cNvSpPr/>
            <p:nvPr/>
          </p:nvSpPr>
          <p:spPr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l" t="t" r="r" b="b"/>
              <a:pathLst>
                <a:path w="1216" h="1436" extrusionOk="0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14"/>
            <p:cNvSpPr/>
            <p:nvPr/>
          </p:nvSpPr>
          <p:spPr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l" t="t" r="r" b="b"/>
              <a:pathLst>
                <a:path w="222" h="129" extrusionOk="0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14"/>
            <p:cNvSpPr/>
            <p:nvPr/>
          </p:nvSpPr>
          <p:spPr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l" t="t" r="r" b="b"/>
              <a:pathLst>
                <a:path w="1174" h="1440" extrusionOk="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14"/>
            <p:cNvSpPr/>
            <p:nvPr/>
          </p:nvSpPr>
          <p:spPr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l" t="t" r="r" b="b"/>
              <a:pathLst>
                <a:path w="125" h="74" extrusionOk="0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14"/>
            <p:cNvSpPr/>
            <p:nvPr/>
          </p:nvSpPr>
          <p:spPr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l" t="t" r="r" b="b"/>
              <a:pathLst>
                <a:path w="1155" h="1440" extrusionOk="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14"/>
            <p:cNvSpPr/>
            <p:nvPr/>
          </p:nvSpPr>
          <p:spPr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l" t="t" r="r" b="b"/>
              <a:pathLst>
                <a:path w="75" h="45" extrusionOk="0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14"/>
            <p:cNvSpPr/>
            <p:nvPr/>
          </p:nvSpPr>
          <p:spPr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l" t="t" r="r" b="b"/>
              <a:pathLst>
                <a:path w="1160" h="1441" extrusionOk="0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14"/>
            <p:cNvSpPr/>
            <p:nvPr/>
          </p:nvSpPr>
          <p:spPr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l" t="t" r="r" b="b"/>
              <a:pathLst>
                <a:path w="1137" h="1440" extrusionOk="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14"/>
            <p:cNvSpPr/>
            <p:nvPr/>
          </p:nvSpPr>
          <p:spPr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l" t="t" r="r" b="b"/>
              <a:pathLst>
                <a:path w="1058" h="1439" extrusionOk="0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14"/>
            <p:cNvSpPr/>
            <p:nvPr/>
          </p:nvSpPr>
          <p:spPr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l" t="t" r="r" b="b"/>
              <a:pathLst>
                <a:path w="718" h="575" extrusionOk="0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14"/>
            <p:cNvSpPr/>
            <p:nvPr/>
          </p:nvSpPr>
          <p:spPr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l" t="t" r="r" b="b"/>
              <a:pathLst>
                <a:path w="620" h="536" extrusionOk="0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14"/>
            <p:cNvSpPr/>
            <p:nvPr/>
          </p:nvSpPr>
          <p:spPr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l" t="t" r="r" b="b"/>
              <a:pathLst>
                <a:path w="455" h="285" extrusionOk="0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14"/>
            <p:cNvSpPr/>
            <p:nvPr/>
          </p:nvSpPr>
          <p:spPr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l" t="t" r="r" b="b"/>
              <a:pathLst>
                <a:path w="188" h="112" extrusionOk="0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6" name="Google Shape;36;p14"/>
          <p:cNvGrpSpPr/>
          <p:nvPr/>
        </p:nvGrpSpPr>
        <p:grpSpPr>
          <a:xfrm>
            <a:off x="1669293" y="1186483"/>
            <a:ext cx="8848345" cy="4477933"/>
            <a:chOff x="1669293" y="1186483"/>
            <a:chExt cx="8848345" cy="4477933"/>
          </a:xfrm>
        </p:grpSpPr>
        <p:sp>
          <p:nvSpPr>
            <p:cNvPr id="37" name="Google Shape;37;p14"/>
            <p:cNvSpPr/>
            <p:nvPr/>
          </p:nvSpPr>
          <p:spPr>
            <a:xfrm>
              <a:off x="1674042" y="1186483"/>
              <a:ext cx="8843596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14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14"/>
            <p:cNvSpPr/>
            <p:nvPr/>
          </p:nvSpPr>
          <p:spPr>
            <a:xfrm>
              <a:off x="1669293" y="1991156"/>
              <a:ext cx="8845667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" name="Google Shape;40;p14"/>
          <p:cNvSpPr txBox="1">
            <a:spLocks noGrp="1"/>
          </p:cNvSpPr>
          <p:nvPr>
            <p:ph type="ctrTitle"/>
          </p:nvPr>
        </p:nvSpPr>
        <p:spPr>
          <a:xfrm>
            <a:off x="1759236" y="2075504"/>
            <a:ext cx="8679915" cy="1748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5400"/>
              <a:buFont typeface="Calibri"/>
              <a:buNone/>
              <a:defRPr sz="5400"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4"/>
          <p:cNvSpPr txBox="1">
            <a:spLocks noGrp="1"/>
          </p:cNvSpPr>
          <p:nvPr>
            <p:ph type="subTitle" idx="1"/>
          </p:nvPr>
        </p:nvSpPr>
        <p:spPr>
          <a:xfrm>
            <a:off x="1759237" y="3906266"/>
            <a:ext cx="8673427" cy="13225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  <a:defRPr sz="1800" b="0">
                <a:solidFill>
                  <a:srgbClr val="FFFEFF"/>
                </a:solidFill>
              </a:defRPr>
            </a:lvl1pPr>
            <a:lvl2pPr lvl="1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/>
            </a:lvl2pPr>
            <a:lvl3pPr lvl="2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6pPr>
            <a:lvl7pPr lvl="6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7pPr>
            <a:lvl8pPr lvl="7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8pPr>
            <a:lvl9pPr lvl="8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9pPr>
          </a:lstStyle>
          <a:p>
            <a:endParaRPr/>
          </a:p>
        </p:txBody>
      </p:sp>
      <p:sp>
        <p:nvSpPr>
          <p:cNvPr id="42" name="Google Shape;42;p14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4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4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3" name="Google Shape;273;p23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274" name="Google Shape;274;p23"/>
            <p:cNvSpPr/>
            <p:nvPr/>
          </p:nvSpPr>
          <p:spPr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l" t="t" r="r" b="b"/>
              <a:pathLst>
                <a:path w="2038" h="1169" extrusionOk="0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l" t="t" r="r" b="b"/>
              <a:pathLst>
                <a:path w="1549" h="1017" extrusionOk="0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3"/>
            <p:cNvSpPr/>
            <p:nvPr/>
          </p:nvSpPr>
          <p:spPr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l" t="t" r="r" b="b"/>
              <a:pathLst>
                <a:path w="1688" h="1066" extrusionOk="0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l" t="t" r="r" b="b"/>
              <a:pathLst>
                <a:path w="2171" h="1326" extrusionOk="0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l" t="t" r="r" b="b"/>
              <a:pathLst>
                <a:path w="106" h="143" extrusionOk="0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23"/>
            <p:cNvSpPr/>
            <p:nvPr/>
          </p:nvSpPr>
          <p:spPr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l" t="t" r="r" b="b"/>
              <a:pathLst>
                <a:path w="2330" h="1452" extrusionOk="0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23"/>
            <p:cNvSpPr/>
            <p:nvPr/>
          </p:nvSpPr>
          <p:spPr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l" t="t" r="r" b="b"/>
              <a:pathLst>
                <a:path w="1216" h="1436" extrusionOk="0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23"/>
            <p:cNvSpPr/>
            <p:nvPr/>
          </p:nvSpPr>
          <p:spPr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l" t="t" r="r" b="b"/>
              <a:pathLst>
                <a:path w="222" h="129" extrusionOk="0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23"/>
            <p:cNvSpPr/>
            <p:nvPr/>
          </p:nvSpPr>
          <p:spPr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l" t="t" r="r" b="b"/>
              <a:pathLst>
                <a:path w="1174" h="1440" extrusionOk="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23"/>
            <p:cNvSpPr/>
            <p:nvPr/>
          </p:nvSpPr>
          <p:spPr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l" t="t" r="r" b="b"/>
              <a:pathLst>
                <a:path w="125" h="74" extrusionOk="0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23"/>
            <p:cNvSpPr/>
            <p:nvPr/>
          </p:nvSpPr>
          <p:spPr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l" t="t" r="r" b="b"/>
              <a:pathLst>
                <a:path w="1155" h="1440" extrusionOk="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23"/>
            <p:cNvSpPr/>
            <p:nvPr/>
          </p:nvSpPr>
          <p:spPr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l" t="t" r="r" b="b"/>
              <a:pathLst>
                <a:path w="75" h="45" extrusionOk="0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23"/>
            <p:cNvSpPr/>
            <p:nvPr/>
          </p:nvSpPr>
          <p:spPr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l" t="t" r="r" b="b"/>
              <a:pathLst>
                <a:path w="1160" h="1441" extrusionOk="0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23"/>
            <p:cNvSpPr/>
            <p:nvPr/>
          </p:nvSpPr>
          <p:spPr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l" t="t" r="r" b="b"/>
              <a:pathLst>
                <a:path w="1137" h="1440" extrusionOk="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23"/>
            <p:cNvSpPr/>
            <p:nvPr/>
          </p:nvSpPr>
          <p:spPr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l" t="t" r="r" b="b"/>
              <a:pathLst>
                <a:path w="1058" h="1439" extrusionOk="0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23"/>
            <p:cNvSpPr/>
            <p:nvPr/>
          </p:nvSpPr>
          <p:spPr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l" t="t" r="r" b="b"/>
              <a:pathLst>
                <a:path w="718" h="575" extrusionOk="0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23"/>
            <p:cNvSpPr/>
            <p:nvPr/>
          </p:nvSpPr>
          <p:spPr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l" t="t" r="r" b="b"/>
              <a:pathLst>
                <a:path w="620" h="536" extrusionOk="0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23"/>
            <p:cNvSpPr/>
            <p:nvPr/>
          </p:nvSpPr>
          <p:spPr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l" t="t" r="r" b="b"/>
              <a:pathLst>
                <a:path w="455" h="285" extrusionOk="0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23"/>
            <p:cNvSpPr/>
            <p:nvPr/>
          </p:nvSpPr>
          <p:spPr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l" t="t" r="r" b="b"/>
              <a:pathLst>
                <a:path w="188" h="112" extrusionOk="0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93" name="Google Shape;293;p23"/>
          <p:cNvGrpSpPr/>
          <p:nvPr/>
        </p:nvGrpSpPr>
        <p:grpSpPr>
          <a:xfrm>
            <a:off x="3259545" y="1186483"/>
            <a:ext cx="5666145" cy="4477933"/>
            <a:chOff x="3259545" y="1186483"/>
            <a:chExt cx="5666145" cy="4477933"/>
          </a:xfrm>
        </p:grpSpPr>
        <p:sp>
          <p:nvSpPr>
            <p:cNvPr id="294" name="Google Shape;294;p23"/>
            <p:cNvSpPr/>
            <p:nvPr/>
          </p:nvSpPr>
          <p:spPr>
            <a:xfrm>
              <a:off x="3259545" y="1186483"/>
              <a:ext cx="5657881" cy="716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23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3"/>
            <p:cNvSpPr/>
            <p:nvPr/>
          </p:nvSpPr>
          <p:spPr>
            <a:xfrm>
              <a:off x="3259545" y="1991156"/>
              <a:ext cx="5666145" cy="33221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7" name="Google Shape;297;p23"/>
          <p:cNvSpPr txBox="1">
            <a:spLocks noGrp="1"/>
          </p:cNvSpPr>
          <p:nvPr>
            <p:ph type="title"/>
          </p:nvPr>
        </p:nvSpPr>
        <p:spPr>
          <a:xfrm>
            <a:off x="3344216" y="2074730"/>
            <a:ext cx="5490224" cy="1689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400"/>
              <a:buFont typeface="Calibri"/>
              <a:buNone/>
              <a:defRPr sz="4400"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8" name="Google Shape;298;p23"/>
          <p:cNvSpPr txBox="1">
            <a:spLocks noGrp="1"/>
          </p:cNvSpPr>
          <p:nvPr>
            <p:ph type="body" idx="1"/>
          </p:nvPr>
        </p:nvSpPr>
        <p:spPr>
          <a:xfrm>
            <a:off x="3344215" y="3846851"/>
            <a:ext cx="5490223" cy="1383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rmAutofit/>
          </a:bodyPr>
          <a:lstStyle>
            <a:lvl1pPr marL="457200" lvl="0" indent="-228600" algn="ctr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  <a:defRPr sz="1800">
                <a:solidFill>
                  <a:srgbClr val="FFFEFF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99" name="Google Shape;299;p23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3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23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24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304" name="Google Shape;304;p24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05;p24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306;p24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4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4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4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4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4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4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4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24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24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24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24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24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24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24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24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24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24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24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5" name="Google Shape;325;p24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326" name="Google Shape;326;p24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24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24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29" name="Google Shape;329;p24"/>
          <p:cNvSpPr txBox="1">
            <a:spLocks noGrp="1"/>
          </p:cNvSpPr>
          <p:nvPr>
            <p:ph type="title"/>
          </p:nvPr>
        </p:nvSpPr>
        <p:spPr>
          <a:xfrm>
            <a:off x="889000" y="2339669"/>
            <a:ext cx="3500828" cy="2470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" name="Google Shape;330;p24"/>
          <p:cNvSpPr txBox="1">
            <a:spLocks noGrp="1"/>
          </p:cNvSpPr>
          <p:nvPr>
            <p:ph type="body" idx="1"/>
          </p:nvPr>
        </p:nvSpPr>
        <p:spPr>
          <a:xfrm>
            <a:off x="5120878" y="803187"/>
            <a:ext cx="6269591" cy="2382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331" name="Google Shape;331;p24"/>
          <p:cNvSpPr txBox="1">
            <a:spLocks noGrp="1"/>
          </p:cNvSpPr>
          <p:nvPr>
            <p:ph type="body" idx="2"/>
          </p:nvPr>
        </p:nvSpPr>
        <p:spPr>
          <a:xfrm>
            <a:off x="5118447" y="3672162"/>
            <a:ext cx="6272022" cy="2383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332" name="Google Shape;332;p24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" name="Google Shape;333;p24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p24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" name="Google Shape;336;p25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337" name="Google Shape;337;p25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25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25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25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25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25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343;p25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344;p25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345;p25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25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25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25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25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25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25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25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25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25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25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56;p25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57;p25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8" name="Google Shape;358;p25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359" name="Google Shape;359;p25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360;p25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361;p25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2" name="Google Shape;362;p25"/>
          <p:cNvSpPr txBox="1">
            <a:spLocks noGrp="1"/>
          </p:cNvSpPr>
          <p:nvPr>
            <p:ph type="title"/>
          </p:nvPr>
        </p:nvSpPr>
        <p:spPr>
          <a:xfrm>
            <a:off x="889001" y="2363915"/>
            <a:ext cx="3500828" cy="2460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" name="Google Shape;363;p25"/>
          <p:cNvSpPr txBox="1">
            <a:spLocks noGrp="1"/>
          </p:cNvSpPr>
          <p:nvPr>
            <p:ph type="body" idx="1"/>
          </p:nvPr>
        </p:nvSpPr>
        <p:spPr>
          <a:xfrm>
            <a:off x="5125137" y="803185"/>
            <a:ext cx="6265088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20"/>
              <a:buNone/>
              <a:defRPr sz="2200" b="0" cap="none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2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9pPr>
          </a:lstStyle>
          <a:p>
            <a:endParaRPr/>
          </a:p>
        </p:txBody>
      </p:sp>
      <p:sp>
        <p:nvSpPr>
          <p:cNvPr id="364" name="Google Shape;364;p25"/>
          <p:cNvSpPr txBox="1">
            <a:spLocks noGrp="1"/>
          </p:cNvSpPr>
          <p:nvPr>
            <p:ph type="body" idx="2"/>
          </p:nvPr>
        </p:nvSpPr>
        <p:spPr>
          <a:xfrm>
            <a:off x="5125305" y="1488985"/>
            <a:ext cx="6264350" cy="1696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365" name="Google Shape;365;p25"/>
          <p:cNvSpPr txBox="1">
            <a:spLocks noGrp="1"/>
          </p:cNvSpPr>
          <p:nvPr>
            <p:ph type="body" idx="3"/>
          </p:nvPr>
        </p:nvSpPr>
        <p:spPr>
          <a:xfrm>
            <a:off x="5118653" y="3665887"/>
            <a:ext cx="6264414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20"/>
              <a:buNone/>
              <a:defRPr sz="2200" b="0" cap="none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2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 b="1"/>
            </a:lvl9pPr>
          </a:lstStyle>
          <a:p>
            <a:endParaRPr/>
          </a:p>
        </p:txBody>
      </p:sp>
      <p:sp>
        <p:nvSpPr>
          <p:cNvPr id="366" name="Google Shape;366;p25"/>
          <p:cNvSpPr txBox="1">
            <a:spLocks noGrp="1"/>
          </p:cNvSpPr>
          <p:nvPr>
            <p:ph type="body" idx="4"/>
          </p:nvPr>
        </p:nvSpPr>
        <p:spPr>
          <a:xfrm>
            <a:off x="5118447" y="4351687"/>
            <a:ext cx="6265588" cy="1704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367" name="Google Shape;367;p25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p25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25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1" name="Google Shape;371;p26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372" name="Google Shape;372;p26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73;p26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74;p26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26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76;p26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77;p26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26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26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80;p26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81;p26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82;p26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83;p26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" name="Google Shape;384;p26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" name="Google Shape;385;p26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86;p26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26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88;p26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89;p26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26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26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26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93" name="Google Shape;393;p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394" name="Google Shape;394;p26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26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26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97" name="Google Shape;397;p26"/>
          <p:cNvSpPr txBox="1">
            <a:spLocks noGrp="1"/>
          </p:cNvSpPr>
          <p:nvPr>
            <p:ph type="title"/>
          </p:nvPr>
        </p:nvSpPr>
        <p:spPr>
          <a:xfrm>
            <a:off x="888632" y="2349925"/>
            <a:ext cx="3501196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" name="Google Shape;398;p26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26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26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Google Shape;402;p27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27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" name="Google Shape;404;p27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6" name="Google Shape;406;p28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407" name="Google Shape;407;p28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8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8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8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8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8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8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" name="Google Shape;414;p28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" name="Google Shape;415;p28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8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8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8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8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8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8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8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8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8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8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8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28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28" name="Google Shape;428;p28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429" name="Google Shape;429;p28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8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8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32" name="Google Shape;432;p28"/>
          <p:cNvSpPr txBox="1">
            <a:spLocks noGrp="1"/>
          </p:cNvSpPr>
          <p:nvPr>
            <p:ph type="title"/>
          </p:nvPr>
        </p:nvSpPr>
        <p:spPr>
          <a:xfrm>
            <a:off x="888631" y="2352026"/>
            <a:ext cx="3501197" cy="1223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3200"/>
              <a:buFont typeface="Calibri"/>
              <a:buNone/>
              <a:defRPr sz="3200"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" name="Google Shape;433;p28"/>
          <p:cNvSpPr txBox="1">
            <a:spLocks noGrp="1"/>
          </p:cNvSpPr>
          <p:nvPr>
            <p:ph type="body" idx="1"/>
          </p:nvPr>
        </p:nvSpPr>
        <p:spPr>
          <a:xfrm>
            <a:off x="5109983" y="802809"/>
            <a:ext cx="6275035" cy="5249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434" name="Google Shape;434;p28"/>
          <p:cNvSpPr txBox="1">
            <a:spLocks noGrp="1"/>
          </p:cNvSpPr>
          <p:nvPr>
            <p:ph type="body" idx="2"/>
          </p:nvPr>
        </p:nvSpPr>
        <p:spPr>
          <a:xfrm>
            <a:off x="888631" y="3580186"/>
            <a:ext cx="3501197" cy="1221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760"/>
              <a:buNone/>
              <a:defRPr sz="1600">
                <a:solidFill>
                  <a:srgbClr val="FFFEFF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54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32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9pPr>
          </a:lstStyle>
          <a:p>
            <a:endParaRPr/>
          </a:p>
        </p:txBody>
      </p:sp>
      <p:sp>
        <p:nvSpPr>
          <p:cNvPr id="435" name="Google Shape;435;p28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28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7" name="Google Shape;437;p28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" name="Google Shape;439;p2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440" name="Google Shape;440;p29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29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29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29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9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9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9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9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9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9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9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9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9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9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9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29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9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29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29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9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9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1" name="Google Shape;461;p29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462" name="Google Shape;462;p29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29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65" name="Google Shape;465;p29"/>
          <p:cNvSpPr txBox="1">
            <a:spLocks noGrp="1"/>
          </p:cNvSpPr>
          <p:nvPr>
            <p:ph type="title"/>
          </p:nvPr>
        </p:nvSpPr>
        <p:spPr>
          <a:xfrm>
            <a:off x="888632" y="2349925"/>
            <a:ext cx="3501196" cy="2456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" name="Google Shape;466;p29"/>
          <p:cNvSpPr txBox="1">
            <a:spLocks noGrp="1"/>
          </p:cNvSpPr>
          <p:nvPr>
            <p:ph type="body" idx="1"/>
          </p:nvPr>
        </p:nvSpPr>
        <p:spPr>
          <a:xfrm rot="5400000">
            <a:off x="5618955" y="285746"/>
            <a:ext cx="5257090" cy="6275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467" name="Google Shape;467;p29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" name="Google Shape;468;p29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9" name="Google Shape;469;p29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1" name="Google Shape;471;p30"/>
          <p:cNvGrpSpPr/>
          <p:nvPr/>
        </p:nvGrpSpPr>
        <p:grpSpPr>
          <a:xfrm flipH="1">
            <a:off x="-1" y="0"/>
            <a:ext cx="12584114" cy="6853238"/>
            <a:chOff x="-417513" y="0"/>
            <a:chExt cx="12584114" cy="6853238"/>
          </a:xfrm>
        </p:grpSpPr>
        <p:sp>
          <p:nvSpPr>
            <p:cNvPr id="472" name="Google Shape;472;p30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30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30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30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30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30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30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30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30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30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30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30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30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30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30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30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30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30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" name="Google Shape;490;p30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491;p30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30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93" name="Google Shape;493;p30"/>
          <p:cNvGrpSpPr/>
          <p:nvPr/>
        </p:nvGrpSpPr>
        <p:grpSpPr>
          <a:xfrm>
            <a:off x="7718948" y="1699589"/>
            <a:ext cx="3674476" cy="3470421"/>
            <a:chOff x="697883" y="1816768"/>
            <a:chExt cx="3674476" cy="3470421"/>
          </a:xfrm>
        </p:grpSpPr>
        <p:sp>
          <p:nvSpPr>
            <p:cNvPr id="494" name="Google Shape;494;p30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30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30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7" name="Google Shape;497;p30"/>
          <p:cNvSpPr txBox="1">
            <a:spLocks noGrp="1"/>
          </p:cNvSpPr>
          <p:nvPr>
            <p:ph type="title"/>
          </p:nvPr>
        </p:nvSpPr>
        <p:spPr>
          <a:xfrm rot="5400000">
            <a:off x="8329814" y="1827548"/>
            <a:ext cx="2456442" cy="3501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" name="Google Shape;498;p30"/>
          <p:cNvSpPr txBox="1">
            <a:spLocks noGrp="1"/>
          </p:cNvSpPr>
          <p:nvPr>
            <p:ph type="body" idx="1"/>
          </p:nvPr>
        </p:nvSpPr>
        <p:spPr>
          <a:xfrm rot="5400000">
            <a:off x="1308406" y="292784"/>
            <a:ext cx="5257303" cy="626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499" name="Google Shape;499;p30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" name="Google Shape;500;p30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" name="Google Shape;501;p30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oogle Shape;46;p15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47" name="Google Shape;47;p15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15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15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15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15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15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15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15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15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15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15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15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15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15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15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15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15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15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15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15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15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8" name="Google Shape;68;p15"/>
          <p:cNvGrpSpPr/>
          <p:nvPr/>
        </p:nvGrpSpPr>
        <p:grpSpPr>
          <a:xfrm>
            <a:off x="806336" y="2275661"/>
            <a:ext cx="3940687" cy="2624327"/>
            <a:chOff x="704075" y="2392840"/>
            <a:chExt cx="3940687" cy="2624327"/>
          </a:xfrm>
        </p:grpSpPr>
        <p:sp>
          <p:nvSpPr>
            <p:cNvPr id="69" name="Google Shape;69;p15"/>
            <p:cNvSpPr/>
            <p:nvPr/>
          </p:nvSpPr>
          <p:spPr>
            <a:xfrm rot="5400000">
              <a:off x="4350612" y="3459664"/>
              <a:ext cx="315900" cy="272400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15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1" name="Google Shape;71;p15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sldNum" idx="12"/>
          </p:nvPr>
        </p:nvSpPr>
        <p:spPr>
          <a:xfrm>
            <a:off x="10521949" y="6461346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3638339" y="5310000"/>
            <a:ext cx="4536000" cy="1548000"/>
          </a:xfrm>
          <a:prstGeom prst="rect">
            <a:avLst/>
          </a:prstGeom>
          <a:solidFill>
            <a:srgbClr val="D8D8D8">
              <a:alpha val="80000"/>
            </a:srgbClr>
          </a:solidFill>
          <a:ln>
            <a:noFill/>
          </a:ln>
        </p:spPr>
        <p:txBody>
          <a:bodyPr spcFirstLastPara="1" wrap="square" lIns="288000" tIns="2520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430"/>
              <a:buNone/>
              <a:defRPr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>
                <a:solidFill>
                  <a:schemeClr val="lt2"/>
                </a:solidFill>
              </a:defRPr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78" name="Google Shape;78;p16"/>
          <p:cNvSpPr txBox="1">
            <a:spLocks noGrp="1"/>
          </p:cNvSpPr>
          <p:nvPr>
            <p:ph type="body" idx="2"/>
          </p:nvPr>
        </p:nvSpPr>
        <p:spPr>
          <a:xfrm>
            <a:off x="787583" y="5310000"/>
            <a:ext cx="2778470" cy="154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88000" tIns="2520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430"/>
              <a:buNone/>
              <a:defRPr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>
                <a:solidFill>
                  <a:schemeClr val="lt2"/>
                </a:solidFill>
              </a:defRPr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>
            <a:off x="680354" y="197121"/>
            <a:ext cx="1071154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Calibri"/>
              <a:buNone/>
              <a:defRPr sz="3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6"/>
          <p:cNvSpPr txBox="1">
            <a:spLocks noGrp="1"/>
          </p:cNvSpPr>
          <p:nvPr>
            <p:ph type="body" idx="3"/>
          </p:nvPr>
        </p:nvSpPr>
        <p:spPr>
          <a:xfrm>
            <a:off x="680354" y="1786436"/>
            <a:ext cx="10711545" cy="3306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  <a:defRPr/>
            </a:lvl1pPr>
            <a:lvl2pPr marL="914400" lvl="1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body" idx="4"/>
          </p:nvPr>
        </p:nvSpPr>
        <p:spPr>
          <a:xfrm>
            <a:off x="8246626" y="5310000"/>
            <a:ext cx="3103200" cy="154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288000" tIns="2520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430"/>
              <a:buNone/>
              <a:defRPr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>
                <a:solidFill>
                  <a:schemeClr val="lt2"/>
                </a:solidFill>
              </a:defRPr>
            </a:lvl2pPr>
            <a:lvl3pPr marL="1371600" lvl="2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3pPr>
            <a:lvl4pPr marL="1828800" lvl="3" indent="-35433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4pPr>
            <a:lvl5pPr marL="2286000" lvl="4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cxnSp>
        <p:nvCxnSpPr>
          <p:cNvPr id="82" name="Google Shape;82;p16"/>
          <p:cNvCxnSpPr/>
          <p:nvPr/>
        </p:nvCxnSpPr>
        <p:spPr>
          <a:xfrm>
            <a:off x="787583" y="1181100"/>
            <a:ext cx="2880000" cy="0"/>
          </a:xfrm>
          <a:prstGeom prst="straightConnector1">
            <a:avLst/>
          </a:prstGeom>
          <a:noFill/>
          <a:ln w="38100" cap="flat" cmpd="sng">
            <a:solidFill>
              <a:srgbClr val="F3555A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oogle Shape;84;p17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85" name="Google Shape;85;p17"/>
            <p:cNvSpPr/>
            <p:nvPr/>
          </p:nvSpPr>
          <p:spPr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l" t="t" r="r" b="b"/>
              <a:pathLst>
                <a:path w="2038" h="1169" extrusionOk="0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17"/>
            <p:cNvSpPr/>
            <p:nvPr/>
          </p:nvSpPr>
          <p:spPr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l" t="t" r="r" b="b"/>
              <a:pathLst>
                <a:path w="1549" h="1017" extrusionOk="0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17"/>
            <p:cNvSpPr/>
            <p:nvPr/>
          </p:nvSpPr>
          <p:spPr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l" t="t" r="r" b="b"/>
              <a:pathLst>
                <a:path w="1688" h="1066" extrusionOk="0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17"/>
            <p:cNvSpPr/>
            <p:nvPr/>
          </p:nvSpPr>
          <p:spPr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l" t="t" r="r" b="b"/>
              <a:pathLst>
                <a:path w="2171" h="1326" extrusionOk="0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17"/>
            <p:cNvSpPr/>
            <p:nvPr/>
          </p:nvSpPr>
          <p:spPr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l" t="t" r="r" b="b"/>
              <a:pathLst>
                <a:path w="106" h="143" extrusionOk="0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17"/>
            <p:cNvSpPr/>
            <p:nvPr/>
          </p:nvSpPr>
          <p:spPr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l" t="t" r="r" b="b"/>
              <a:pathLst>
                <a:path w="2330" h="1452" extrusionOk="0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17"/>
            <p:cNvSpPr/>
            <p:nvPr/>
          </p:nvSpPr>
          <p:spPr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l" t="t" r="r" b="b"/>
              <a:pathLst>
                <a:path w="1216" h="1436" extrusionOk="0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92;p17"/>
            <p:cNvSpPr/>
            <p:nvPr/>
          </p:nvSpPr>
          <p:spPr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l" t="t" r="r" b="b"/>
              <a:pathLst>
                <a:path w="222" h="129" extrusionOk="0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93;p17"/>
            <p:cNvSpPr/>
            <p:nvPr/>
          </p:nvSpPr>
          <p:spPr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l" t="t" r="r" b="b"/>
              <a:pathLst>
                <a:path w="1174" h="1440" extrusionOk="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17"/>
            <p:cNvSpPr/>
            <p:nvPr/>
          </p:nvSpPr>
          <p:spPr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l" t="t" r="r" b="b"/>
              <a:pathLst>
                <a:path w="125" h="74" extrusionOk="0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17"/>
            <p:cNvSpPr/>
            <p:nvPr/>
          </p:nvSpPr>
          <p:spPr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l" t="t" r="r" b="b"/>
              <a:pathLst>
                <a:path w="1155" h="1440" extrusionOk="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17"/>
            <p:cNvSpPr/>
            <p:nvPr/>
          </p:nvSpPr>
          <p:spPr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l" t="t" r="r" b="b"/>
              <a:pathLst>
                <a:path w="75" h="45" extrusionOk="0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17"/>
            <p:cNvSpPr/>
            <p:nvPr/>
          </p:nvSpPr>
          <p:spPr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l" t="t" r="r" b="b"/>
              <a:pathLst>
                <a:path w="1160" h="1441" extrusionOk="0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17"/>
            <p:cNvSpPr/>
            <p:nvPr/>
          </p:nvSpPr>
          <p:spPr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l" t="t" r="r" b="b"/>
              <a:pathLst>
                <a:path w="1137" h="1440" extrusionOk="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99;p17"/>
            <p:cNvSpPr/>
            <p:nvPr/>
          </p:nvSpPr>
          <p:spPr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l" t="t" r="r" b="b"/>
              <a:pathLst>
                <a:path w="1058" h="1439" extrusionOk="0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17"/>
            <p:cNvSpPr/>
            <p:nvPr/>
          </p:nvSpPr>
          <p:spPr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l" t="t" r="r" b="b"/>
              <a:pathLst>
                <a:path w="718" h="575" extrusionOk="0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17"/>
            <p:cNvSpPr/>
            <p:nvPr/>
          </p:nvSpPr>
          <p:spPr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l" t="t" r="r" b="b"/>
              <a:pathLst>
                <a:path w="620" h="536" extrusionOk="0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102;p17"/>
            <p:cNvSpPr/>
            <p:nvPr/>
          </p:nvSpPr>
          <p:spPr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l" t="t" r="r" b="b"/>
              <a:pathLst>
                <a:path w="455" h="285" extrusionOk="0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103;p17"/>
            <p:cNvSpPr/>
            <p:nvPr/>
          </p:nvSpPr>
          <p:spPr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l" t="t" r="r" b="b"/>
              <a:pathLst>
                <a:path w="188" h="112" extrusionOk="0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4" name="Google Shape;104;p17"/>
          <p:cNvGrpSpPr/>
          <p:nvPr/>
        </p:nvGrpSpPr>
        <p:grpSpPr>
          <a:xfrm>
            <a:off x="805336" y="1698331"/>
            <a:ext cx="5941540" cy="3470421"/>
            <a:chOff x="805336" y="1698331"/>
            <a:chExt cx="5941540" cy="3470421"/>
          </a:xfrm>
        </p:grpSpPr>
        <p:sp>
          <p:nvSpPr>
            <p:cNvPr id="105" name="Google Shape;105;p17"/>
            <p:cNvSpPr/>
            <p:nvPr/>
          </p:nvSpPr>
          <p:spPr>
            <a:xfrm>
              <a:off x="805336" y="1698331"/>
              <a:ext cx="5941540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06;p17"/>
            <p:cNvSpPr/>
            <p:nvPr/>
          </p:nvSpPr>
          <p:spPr>
            <a:xfrm rot="10800000">
              <a:off x="3618113" y="4896349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07;p17"/>
            <p:cNvSpPr/>
            <p:nvPr/>
          </p:nvSpPr>
          <p:spPr>
            <a:xfrm>
              <a:off x="805336" y="2274403"/>
              <a:ext cx="5941540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8" name="Google Shape;108;p17"/>
          <p:cNvSpPr>
            <a:spLocks noGrp="1"/>
          </p:cNvSpPr>
          <p:nvPr>
            <p:ph type="pic" idx="2"/>
          </p:nvPr>
        </p:nvSpPr>
        <p:spPr>
          <a:xfrm>
            <a:off x="7543510" y="0"/>
            <a:ext cx="4648490" cy="6858000"/>
          </a:xfrm>
          <a:prstGeom prst="rect">
            <a:avLst/>
          </a:prstGeom>
          <a:solidFill>
            <a:srgbClr val="FEFEFE"/>
          </a:solidFill>
          <a:ln>
            <a:noFill/>
          </a:ln>
        </p:spPr>
      </p:sp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885443" y="2360255"/>
            <a:ext cx="5776646" cy="117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3600"/>
              <a:buFont typeface="Calibri"/>
              <a:buNone/>
              <a:defRPr sz="3600"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body" idx="1"/>
          </p:nvPr>
        </p:nvSpPr>
        <p:spPr>
          <a:xfrm>
            <a:off x="885443" y="3545012"/>
            <a:ext cx="5776646" cy="1274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  <a:defRPr sz="1800">
                <a:solidFill>
                  <a:srgbClr val="FFFEFF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54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32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100"/>
              <a:buNone/>
              <a:defRPr sz="1000"/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7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5942203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7"/>
          <p:cNvSpPr txBox="1">
            <a:spLocks noGrp="1"/>
          </p:cNvSpPr>
          <p:nvPr>
            <p:ph type="sldNum" idx="12"/>
          </p:nvPr>
        </p:nvSpPr>
        <p:spPr>
          <a:xfrm>
            <a:off x="5828377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oogle Shape;115;p18"/>
          <p:cNvGrpSpPr/>
          <p:nvPr/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116" name="Google Shape;116;p18"/>
            <p:cNvSpPr/>
            <p:nvPr/>
          </p:nvSpPr>
          <p:spPr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l" t="t" r="r" b="b"/>
              <a:pathLst>
                <a:path w="2038" h="1169" extrusionOk="0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18"/>
            <p:cNvSpPr/>
            <p:nvPr/>
          </p:nvSpPr>
          <p:spPr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l" t="t" r="r" b="b"/>
              <a:pathLst>
                <a:path w="1549" h="1017" extrusionOk="0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18"/>
            <p:cNvSpPr/>
            <p:nvPr/>
          </p:nvSpPr>
          <p:spPr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l" t="t" r="r" b="b"/>
              <a:pathLst>
                <a:path w="1688" h="1066" extrusionOk="0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18"/>
            <p:cNvSpPr/>
            <p:nvPr/>
          </p:nvSpPr>
          <p:spPr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l" t="t" r="r" b="b"/>
              <a:pathLst>
                <a:path w="2171" h="1326" extrusionOk="0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18"/>
            <p:cNvSpPr/>
            <p:nvPr/>
          </p:nvSpPr>
          <p:spPr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l" t="t" r="r" b="b"/>
              <a:pathLst>
                <a:path w="106" h="143" extrusionOk="0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18"/>
            <p:cNvSpPr/>
            <p:nvPr/>
          </p:nvSpPr>
          <p:spPr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l" t="t" r="r" b="b"/>
              <a:pathLst>
                <a:path w="2330" h="1452" extrusionOk="0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18"/>
            <p:cNvSpPr/>
            <p:nvPr/>
          </p:nvSpPr>
          <p:spPr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l" t="t" r="r" b="b"/>
              <a:pathLst>
                <a:path w="1216" h="1436" extrusionOk="0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18"/>
            <p:cNvSpPr/>
            <p:nvPr/>
          </p:nvSpPr>
          <p:spPr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l" t="t" r="r" b="b"/>
              <a:pathLst>
                <a:path w="222" h="129" extrusionOk="0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18"/>
            <p:cNvSpPr/>
            <p:nvPr/>
          </p:nvSpPr>
          <p:spPr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l" t="t" r="r" b="b"/>
              <a:pathLst>
                <a:path w="1174" h="1440" extrusionOk="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18"/>
            <p:cNvSpPr/>
            <p:nvPr/>
          </p:nvSpPr>
          <p:spPr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l" t="t" r="r" b="b"/>
              <a:pathLst>
                <a:path w="125" h="74" extrusionOk="0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18"/>
            <p:cNvSpPr/>
            <p:nvPr/>
          </p:nvSpPr>
          <p:spPr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l" t="t" r="r" b="b"/>
              <a:pathLst>
                <a:path w="1155" h="1440" extrusionOk="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18"/>
            <p:cNvSpPr/>
            <p:nvPr/>
          </p:nvSpPr>
          <p:spPr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l" t="t" r="r" b="b"/>
              <a:pathLst>
                <a:path w="75" h="45" extrusionOk="0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18"/>
            <p:cNvSpPr/>
            <p:nvPr/>
          </p:nvSpPr>
          <p:spPr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l" t="t" r="r" b="b"/>
              <a:pathLst>
                <a:path w="1160" h="1441" extrusionOk="0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18"/>
            <p:cNvSpPr/>
            <p:nvPr/>
          </p:nvSpPr>
          <p:spPr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l" t="t" r="r" b="b"/>
              <a:pathLst>
                <a:path w="1137" h="1440" extrusionOk="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30;p18"/>
            <p:cNvSpPr/>
            <p:nvPr/>
          </p:nvSpPr>
          <p:spPr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l" t="t" r="r" b="b"/>
              <a:pathLst>
                <a:path w="1058" h="1439" extrusionOk="0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31;p18"/>
            <p:cNvSpPr/>
            <p:nvPr/>
          </p:nvSpPr>
          <p:spPr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l" t="t" r="r" b="b"/>
              <a:pathLst>
                <a:path w="718" h="575" extrusionOk="0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32;p18"/>
            <p:cNvSpPr/>
            <p:nvPr/>
          </p:nvSpPr>
          <p:spPr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l" t="t" r="r" b="b"/>
              <a:pathLst>
                <a:path w="620" h="536" extrusionOk="0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33;p18"/>
            <p:cNvSpPr/>
            <p:nvPr/>
          </p:nvSpPr>
          <p:spPr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l" t="t" r="r" b="b"/>
              <a:pathLst>
                <a:path w="455" h="285" extrusionOk="0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18"/>
            <p:cNvSpPr/>
            <p:nvPr/>
          </p:nvSpPr>
          <p:spPr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l" t="t" r="r" b="b"/>
              <a:pathLst>
                <a:path w="188" h="112" extrusionOk="0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5" name="Google Shape;135;p18"/>
          <p:cNvGrpSpPr/>
          <p:nvPr/>
        </p:nvGrpSpPr>
        <p:grpSpPr>
          <a:xfrm>
            <a:off x="1669293" y="1186483"/>
            <a:ext cx="8848345" cy="4477933"/>
            <a:chOff x="1669293" y="1186483"/>
            <a:chExt cx="8848345" cy="4477933"/>
          </a:xfrm>
        </p:grpSpPr>
        <p:sp>
          <p:nvSpPr>
            <p:cNvPr id="136" name="Google Shape;136;p18"/>
            <p:cNvSpPr/>
            <p:nvPr/>
          </p:nvSpPr>
          <p:spPr>
            <a:xfrm>
              <a:off x="1674042" y="1186483"/>
              <a:ext cx="8843596" cy="716184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18"/>
            <p:cNvSpPr/>
            <p:nvPr/>
          </p:nvSpPr>
          <p:spPr>
            <a:xfrm rot="10800000">
              <a:off x="5892384" y="5313353"/>
              <a:ext cx="407233" cy="351063"/>
            </a:xfrm>
            <a:prstGeom prst="triangle">
              <a:avLst>
                <a:gd name="adj" fmla="val 50000"/>
              </a:avLst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138;p18"/>
            <p:cNvSpPr/>
            <p:nvPr/>
          </p:nvSpPr>
          <p:spPr>
            <a:xfrm>
              <a:off x="1669293" y="1991156"/>
              <a:ext cx="8845667" cy="3322196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9" name="Google Shape;139;p18"/>
          <p:cNvSpPr txBox="1">
            <a:spLocks noGrp="1"/>
          </p:cNvSpPr>
          <p:nvPr>
            <p:ph type="ctrTitle"/>
          </p:nvPr>
        </p:nvSpPr>
        <p:spPr>
          <a:xfrm>
            <a:off x="1759236" y="2075504"/>
            <a:ext cx="8679915" cy="1748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5400"/>
              <a:buFont typeface="Calibri"/>
              <a:buNone/>
              <a:defRPr sz="5400"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18"/>
          <p:cNvSpPr txBox="1">
            <a:spLocks noGrp="1"/>
          </p:cNvSpPr>
          <p:nvPr>
            <p:ph type="subTitle" idx="1"/>
          </p:nvPr>
        </p:nvSpPr>
        <p:spPr>
          <a:xfrm>
            <a:off x="1759237" y="3906266"/>
            <a:ext cx="8673427" cy="13225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  <a:defRPr sz="1800" b="0">
                <a:solidFill>
                  <a:srgbClr val="FFFEFF"/>
                </a:solidFill>
              </a:defRPr>
            </a:lvl1pPr>
            <a:lvl2pPr lvl="1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/>
            </a:lvl2pPr>
            <a:lvl3pPr lvl="2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6pPr>
            <a:lvl7pPr lvl="6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7pPr>
            <a:lvl8pPr lvl="7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8pPr>
            <a:lvl9pPr lvl="8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  <a:defRPr sz="1600"/>
            </a:lvl9pPr>
          </a:lstStyle>
          <a:p>
            <a:endParaRPr/>
          </a:p>
        </p:txBody>
      </p:sp>
      <p:sp>
        <p:nvSpPr>
          <p:cNvPr id="141" name="Google Shape;141;p18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18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8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oogle Shape;145;p1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146" name="Google Shape;146;p19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147;p19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19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19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19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19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19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19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154;p19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155;p19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19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157;p19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158;p19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159;p19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19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161;p19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162;p19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19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164;p19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165;p19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19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7" name="Google Shape;167;p19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168" name="Google Shape;168;p19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00A6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69;p19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rgbClr val="00A6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170;p1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00A6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1" name="Google Shape;171;p19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19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00A699"/>
              </a:buClr>
              <a:buSzPts val="1980"/>
              <a:buChar char="▪"/>
              <a:defRPr/>
            </a:lvl1pPr>
            <a:lvl2pPr marL="914400" lvl="1" indent="-34036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00A699"/>
              </a:buClr>
              <a:buSzPts val="1760"/>
              <a:buChar char="▪"/>
              <a:defRPr/>
            </a:lvl2pPr>
            <a:lvl3pPr marL="1371600" lvl="2" indent="-32638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00A699"/>
              </a:buClr>
              <a:buSzPts val="1540"/>
              <a:buChar char="▪"/>
              <a:defRPr/>
            </a:lvl3pPr>
            <a:lvl4pPr marL="1828800" lvl="3" indent="-31241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00A699"/>
              </a:buClr>
              <a:buSzPts val="1320"/>
              <a:buChar char="▪"/>
              <a:defRPr/>
            </a:lvl4pPr>
            <a:lvl5pPr marL="2286000" lvl="4" indent="-31242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00A699"/>
              </a:buClr>
              <a:buSzPts val="132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173" name="Google Shape;173;p19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19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19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">
  <p:cSld name="3_Title and Conten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" name="Google Shape;177;p20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178" name="Google Shape;178;p20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20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20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20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20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20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20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20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20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20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188;p20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189;p20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20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191;p20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192;p20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20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194;p20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20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20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20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20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9" name="Google Shape;199;p20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00" name="Google Shape;200;p20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FC64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20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rgbClr val="FC64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20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FC642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3" name="Google Shape;203;p20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20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FC642D"/>
              </a:buClr>
              <a:buSzPts val="1980"/>
              <a:buChar char="▪"/>
              <a:defRPr/>
            </a:lvl1pPr>
            <a:lvl2pPr marL="914400" lvl="1" indent="-34036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FC642D"/>
              </a:buClr>
              <a:buSzPts val="1760"/>
              <a:buChar char="▪"/>
              <a:defRPr/>
            </a:lvl2pPr>
            <a:lvl3pPr marL="1371600" lvl="2" indent="-32638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FC642D"/>
              </a:buClr>
              <a:buSzPts val="1540"/>
              <a:buChar char="▪"/>
              <a:defRPr/>
            </a:lvl3pPr>
            <a:lvl4pPr marL="1828800" lvl="3" indent="-31241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FC642D"/>
              </a:buClr>
              <a:buSzPts val="1320"/>
              <a:buChar char="▪"/>
              <a:defRPr/>
            </a:lvl4pPr>
            <a:lvl5pPr marL="2286000" lvl="4" indent="-31242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FC642D"/>
              </a:buClr>
              <a:buSzPts val="132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205" name="Google Shape;205;p20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20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20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9" name="Google Shape;209;p21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210" name="Google Shape;210;p21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21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21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13;p21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21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21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21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17;p21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18;p21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19;p21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21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21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21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21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21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21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21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21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21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21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21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1" name="Google Shape;231;p21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32" name="Google Shape;232;p21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4848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21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rgbClr val="4848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21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4848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5" name="Google Shape;235;p21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1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484848"/>
              </a:buClr>
              <a:buSzPts val="1980"/>
              <a:buChar char="▪"/>
              <a:defRPr/>
            </a:lvl1pPr>
            <a:lvl2pPr marL="914400" lvl="1" indent="-34036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484848"/>
              </a:buClr>
              <a:buSzPts val="1760"/>
              <a:buChar char="▪"/>
              <a:defRPr/>
            </a:lvl2pPr>
            <a:lvl3pPr marL="1371600" lvl="2" indent="-32638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484848"/>
              </a:buClr>
              <a:buSzPts val="1540"/>
              <a:buChar char="▪"/>
              <a:defRPr/>
            </a:lvl3pPr>
            <a:lvl4pPr marL="1828800" lvl="3" indent="-31241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484848"/>
              </a:buClr>
              <a:buSzPts val="1320"/>
              <a:buChar char="▪"/>
              <a:defRPr/>
            </a:lvl4pPr>
            <a:lvl5pPr marL="2286000" lvl="4" indent="-31242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484848"/>
              </a:buClr>
              <a:buSzPts val="132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237" name="Google Shape;237;p21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21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21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1" name="Google Shape;241;p22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242" name="Google Shape;242;p22"/>
            <p:cNvSpPr/>
            <p:nvPr/>
          </p:nvSpPr>
          <p:spPr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l" t="t" r="r" b="b"/>
              <a:pathLst>
                <a:path w="813" h="1440" extrusionOk="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22"/>
            <p:cNvSpPr/>
            <p:nvPr/>
          </p:nvSpPr>
          <p:spPr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l" t="t" r="r" b="b"/>
              <a:pathLst>
                <a:path w="324" h="117" extrusionOk="0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22"/>
            <p:cNvSpPr/>
            <p:nvPr/>
          </p:nvSpPr>
          <p:spPr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l" t="t" r="r" b="b"/>
              <a:pathLst>
                <a:path w="404" h="385" extrusionOk="0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22"/>
            <p:cNvSpPr/>
            <p:nvPr/>
          </p:nvSpPr>
          <p:spPr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l" t="t" r="r" b="b"/>
              <a:pathLst>
                <a:path w="774" h="1440" extrusionOk="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22"/>
            <p:cNvSpPr/>
            <p:nvPr/>
          </p:nvSpPr>
          <p:spPr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l" t="t" r="r" b="b"/>
              <a:pathLst>
                <a:path w="203" h="77" extrusionOk="0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22"/>
            <p:cNvSpPr/>
            <p:nvPr/>
          </p:nvSpPr>
          <p:spPr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l" t="t" r="r" b="b"/>
              <a:pathLst>
                <a:path w="351" h="332" extrusionOk="0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22"/>
            <p:cNvSpPr/>
            <p:nvPr/>
          </p:nvSpPr>
          <p:spPr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l" t="t" r="r" b="b"/>
              <a:pathLst>
                <a:path w="762" h="1440" extrusionOk="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22"/>
            <p:cNvSpPr/>
            <p:nvPr/>
          </p:nvSpPr>
          <p:spPr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l" t="t" r="r" b="b"/>
              <a:pathLst>
                <a:path w="140" h="54" extrusionOk="0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22"/>
            <p:cNvSpPr/>
            <p:nvPr/>
          </p:nvSpPr>
          <p:spPr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l" t="t" r="r" b="b"/>
              <a:pathLst>
                <a:path w="321" h="302" extrusionOk="0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22"/>
            <p:cNvSpPr/>
            <p:nvPr/>
          </p:nvSpPr>
          <p:spPr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l" t="t" r="r" b="b"/>
              <a:pathLst>
                <a:path w="683" h="1440" extrusionOk="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22"/>
            <p:cNvSpPr/>
            <p:nvPr/>
          </p:nvSpPr>
          <p:spPr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l" t="t" r="r" b="b"/>
              <a:pathLst>
                <a:path w="287" h="279" extrusionOk="0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22"/>
            <p:cNvSpPr/>
            <p:nvPr/>
          </p:nvSpPr>
          <p:spPr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l" t="t" r="r" b="b"/>
              <a:pathLst>
                <a:path w="680" h="1440" extrusionOk="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22"/>
            <p:cNvSpPr/>
            <p:nvPr/>
          </p:nvSpPr>
          <p:spPr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l" t="t" r="r" b="b"/>
              <a:pathLst>
                <a:path w="250" h="242" extrusionOk="0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2"/>
            <p:cNvSpPr/>
            <p:nvPr/>
          </p:nvSpPr>
          <p:spPr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l" t="t" r="r" b="b"/>
              <a:pathLst>
                <a:path w="720" h="1440" extrusionOk="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22"/>
            <p:cNvSpPr/>
            <p:nvPr/>
          </p:nvSpPr>
          <p:spPr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l" t="t" r="r" b="b"/>
              <a:pathLst>
                <a:path w="185" h="167" extrusionOk="0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22"/>
            <p:cNvSpPr/>
            <p:nvPr/>
          </p:nvSpPr>
          <p:spPr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l" t="t" r="r" b="b"/>
              <a:pathLst>
                <a:path w="572" h="1440" extrusionOk="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 cmpd="sng">
              <a:solidFill>
                <a:schemeClr val="dk1">
                  <a:alpha val="20000"/>
                </a:schemeClr>
              </a:solidFill>
              <a:prstDash val="dashDot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22"/>
            <p:cNvSpPr/>
            <p:nvPr/>
          </p:nvSpPr>
          <p:spPr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l" t="t" r="r" b="b"/>
              <a:pathLst>
                <a:path w="620" h="1440" extrusionOk="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lg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22"/>
            <p:cNvSpPr/>
            <p:nvPr/>
          </p:nvSpPr>
          <p:spPr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l" t="t" r="r" b="b"/>
              <a:pathLst>
                <a:path w="506" h="1440" extrusionOk="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22"/>
            <p:cNvSpPr/>
            <p:nvPr/>
          </p:nvSpPr>
          <p:spPr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l" t="t" r="r" b="b"/>
              <a:pathLst>
                <a:path w="373" h="673" extrusionOk="0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l" t="t" r="r" b="b"/>
              <a:pathLst>
                <a:path w="45" h="174" extrusionOk="0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22"/>
            <p:cNvSpPr/>
            <p:nvPr/>
          </p:nvSpPr>
          <p:spPr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l" t="t" r="r" b="b"/>
              <a:pathLst>
                <a:path w="329" h="469" extrusionOk="0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 cmpd="sng">
              <a:solidFill>
                <a:schemeClr val="dk1">
                  <a:alpha val="20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3" name="Google Shape;263;p22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64" name="Google Shape;264;p22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>
                <a:gd name="adj" fmla="val 50000"/>
              </a:avLst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7" name="Google Shape;267;p22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  <a:defRPr>
                <a:solidFill>
                  <a:srgbClr val="FFFE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22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5433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767676"/>
              </a:buClr>
              <a:buSzPts val="1980"/>
              <a:buChar char="▪"/>
              <a:defRPr/>
            </a:lvl1pPr>
            <a:lvl2pPr marL="914400" lvl="1" indent="-34036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7676"/>
              </a:buClr>
              <a:buSzPts val="1760"/>
              <a:buChar char="▪"/>
              <a:defRPr/>
            </a:lvl2pPr>
            <a:lvl3pPr marL="1371600" lvl="2" indent="-32638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7676"/>
              </a:buClr>
              <a:buSzPts val="1540"/>
              <a:buChar char="▪"/>
              <a:defRPr/>
            </a:lvl3pPr>
            <a:lvl4pPr marL="1828800" lvl="3" indent="-31241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7676"/>
              </a:buClr>
              <a:buSzPts val="1320"/>
              <a:buChar char="▪"/>
              <a:defRPr/>
            </a:lvl4pPr>
            <a:lvl5pPr marL="2286000" lvl="4" indent="-31242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7676"/>
              </a:buClr>
              <a:buSzPts val="1320"/>
              <a:buChar char="▪"/>
              <a:defRPr/>
            </a:lvl5pPr>
            <a:lvl6pPr marL="2743200" lvl="5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6pPr>
            <a:lvl7pPr marL="3200400" lvl="6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7pPr>
            <a:lvl8pPr marL="3657600" lvl="7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8pPr>
            <a:lvl9pPr marL="4114800" lvl="8" indent="-354329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980"/>
              <a:buChar char="▪"/>
              <a:defRPr/>
            </a:lvl9pPr>
          </a:lstStyle>
          <a:p>
            <a:endParaRPr/>
          </a:p>
        </p:txBody>
      </p:sp>
      <p:sp>
        <p:nvSpPr>
          <p:cNvPr id="269" name="Google Shape;269;p22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22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22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F8E85F-DBD9-476A-8495-A6485EF6A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771361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1" imgW="410" imgH="409" progId="TCLayout.ActiveDocument.1">
                  <p:embed/>
                </p:oleObj>
              </mc:Choice>
              <mc:Fallback>
                <p:oleObj name="think-cell Slide" r:id="rId21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3"/>
          <p:cNvSpPr txBox="1">
            <a:spLocks noGrp="1"/>
          </p:cNvSpPr>
          <p:nvPr>
            <p:ph type="title"/>
          </p:nvPr>
        </p:nvSpPr>
        <p:spPr>
          <a:xfrm>
            <a:off x="891161" y="2358391"/>
            <a:ext cx="3498667" cy="2456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>
            <a:lvl1pPr marR="0" lvl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3"/>
          <p:cNvSpPr txBox="1">
            <a:spLocks noGrp="1"/>
          </p:cNvSpPr>
          <p:nvPr>
            <p:ph type="body" idx="1"/>
          </p:nvPr>
        </p:nvSpPr>
        <p:spPr>
          <a:xfrm>
            <a:off x="5434982" y="794719"/>
            <a:ext cx="5950036" cy="5257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433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980"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marL="914400" marR="0" lvl="1" indent="-34036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2pPr>
            <a:lvl3pPr marL="1371600" marR="0" lvl="2" indent="-326389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54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3pPr>
            <a:lvl4pPr marL="1828800" marR="0" lvl="3" indent="-312419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4pPr>
            <a:lvl5pPr marL="2286000" marR="0" lvl="4" indent="-31242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5pPr>
            <a:lvl6pPr marL="2743200" marR="0" lvl="5" indent="-31242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3200400" marR="0" lvl="6" indent="-31242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3657600" marR="0" lvl="7" indent="-31242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4114800" marR="0" lvl="8" indent="-31242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32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endParaRPr/>
          </a:p>
        </p:txBody>
      </p:sp>
      <p:sp>
        <p:nvSpPr>
          <p:cNvPr id="12" name="Google Shape;12;p13"/>
          <p:cNvSpPr txBox="1">
            <a:spLocks noGrp="1"/>
          </p:cNvSpPr>
          <p:nvPr>
            <p:ph type="dt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ft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sldNum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888888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automr-app.herokuapp.com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21787A-D868-455E-A05F-FEBC39CA6C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080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506;p1"/>
          <p:cNvSpPr txBox="1">
            <a:spLocks noGrp="1"/>
          </p:cNvSpPr>
          <p:nvPr>
            <p:ph type="ctrTitle"/>
          </p:nvPr>
        </p:nvSpPr>
        <p:spPr>
          <a:xfrm>
            <a:off x="1759236" y="2075504"/>
            <a:ext cx="8679915" cy="1471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 fontScale="90000"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5400"/>
              <a:buFont typeface="Calibri"/>
              <a:buNone/>
            </a:pPr>
            <a:r>
              <a:rPr lang="en-US" dirty="0" err="1"/>
              <a:t>AutoMR</a:t>
            </a:r>
            <a:r>
              <a:rPr lang="en-US" dirty="0"/>
              <a:t> (Automated Marketing Research)</a:t>
            </a:r>
            <a:endParaRPr dirty="0"/>
          </a:p>
        </p:txBody>
      </p:sp>
      <p:sp>
        <p:nvSpPr>
          <p:cNvPr id="507" name="Google Shape;507;p1"/>
          <p:cNvSpPr txBox="1">
            <a:spLocks noGrp="1"/>
          </p:cNvSpPr>
          <p:nvPr>
            <p:ph type="subTitle" idx="1"/>
          </p:nvPr>
        </p:nvSpPr>
        <p:spPr>
          <a:xfrm>
            <a:off x="1759237" y="3547432"/>
            <a:ext cx="8673427" cy="1681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80"/>
              <a:buNone/>
            </a:pPr>
            <a:r>
              <a:rPr lang="en-US" dirty="0"/>
              <a:t>Extraction of key product attributes and associated sentiments</a:t>
            </a: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80"/>
              <a:buNone/>
            </a:pPr>
            <a:endParaRPr dirty="0"/>
          </a:p>
          <a:p>
            <a:pPr marL="0" indent="0"/>
            <a:r>
              <a:rPr lang="en-US" sz="2800" dirty="0"/>
              <a:t>Jay Shim, </a:t>
            </a:r>
            <a:r>
              <a:rPr lang="en-US" sz="2800" dirty="0" err="1"/>
              <a:t>Minha</a:t>
            </a:r>
            <a:r>
              <a:rPr lang="en-US" sz="2800" dirty="0"/>
              <a:t> Hwang and Paras Jain</a:t>
            </a:r>
            <a:endParaRPr sz="2800" dirty="0"/>
          </a:p>
          <a:p>
            <a:pPr marL="0" lvl="0" indent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</a:pPr>
            <a:r>
              <a:rPr lang="en-US" dirty="0"/>
              <a:t>November 18, 2021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Google Shape;573;p8"/>
          <p:cNvSpPr txBox="1">
            <a:spLocks noGrp="1"/>
          </p:cNvSpPr>
          <p:nvPr>
            <p:ph type="title"/>
          </p:nvPr>
        </p:nvSpPr>
        <p:spPr>
          <a:xfrm>
            <a:off x="885443" y="2360255"/>
            <a:ext cx="5776646" cy="1178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3600"/>
              <a:buFont typeface="Calibri"/>
              <a:buNone/>
            </a:pPr>
            <a:r>
              <a:rPr lang="en-US"/>
              <a:t>Appendix</a:t>
            </a:r>
            <a:endParaRPr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A4EB538-0B6B-4572-A264-9DDAAEE62D05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0521949" y="6461346"/>
            <a:ext cx="914400" cy="32004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0</a:t>
            </a:fld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Google Shape;586;p9"/>
          <p:cNvSpPr txBox="1">
            <a:spLocks noGrp="1"/>
          </p:cNvSpPr>
          <p:nvPr>
            <p:ph type="title"/>
          </p:nvPr>
        </p:nvSpPr>
        <p:spPr>
          <a:xfrm>
            <a:off x="680354" y="197121"/>
            <a:ext cx="1071154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Calibri"/>
              <a:buNone/>
            </a:pPr>
            <a:r>
              <a:rPr lang="en-US"/>
              <a:t>References and Datasets</a:t>
            </a:r>
            <a:endParaRPr/>
          </a:p>
        </p:txBody>
      </p:sp>
      <p:sp>
        <p:nvSpPr>
          <p:cNvPr id="587" name="Google Shape;587;p9"/>
          <p:cNvSpPr txBox="1">
            <a:spLocks noGrp="1"/>
          </p:cNvSpPr>
          <p:nvPr>
            <p:ph type="body" idx="3"/>
          </p:nvPr>
        </p:nvSpPr>
        <p:spPr>
          <a:xfrm>
            <a:off x="680354" y="1345053"/>
            <a:ext cx="10711545" cy="37873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/>
              <a:t>Marketing research using unsupervised learning approach</a:t>
            </a:r>
            <a:r>
              <a:rPr lang="en-US" baseline="30000"/>
              <a:t>[1]</a:t>
            </a:r>
            <a:endParaRPr/>
          </a:p>
          <a:p>
            <a:pPr marL="1600200" lvl="3" indent="-14478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320"/>
              <a:buNone/>
            </a:pP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/>
              <a:t>Amazon review data (2018)</a:t>
            </a:r>
            <a:r>
              <a:rPr lang="en-US" baseline="30000"/>
              <a:t>[2]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/>
              <a:t>Reviews (Data) duration: 23 years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/>
              <a:t>Product focus: Digital Cameras</a:t>
            </a:r>
            <a:endParaRPr/>
          </a:p>
        </p:txBody>
      </p:sp>
      <p:sp>
        <p:nvSpPr>
          <p:cNvPr id="588" name="Google Shape;588;p9"/>
          <p:cNvSpPr txBox="1"/>
          <p:nvPr/>
        </p:nvSpPr>
        <p:spPr>
          <a:xfrm>
            <a:off x="768002" y="5610286"/>
            <a:ext cx="10536248" cy="940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None/>
            </a:pPr>
            <a:r>
              <a:rPr lang="en-US"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[1] Lee, Thomas Y., and Eric T. Bradlow. “Automated Marketing Research Using Online Customer Reviews.” </a:t>
            </a:r>
            <a:r>
              <a:rPr lang="en-US" sz="1000" b="0" i="1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Journal of Marketing Research</a:t>
            </a:r>
            <a:r>
              <a:rPr lang="en-US"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, vol. 48, no. 5, 2011, pp. 881–894., https://doi.org/10.1509/jmkr.48.5.881. </a:t>
            </a:r>
            <a:endParaRPr sz="10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  <a:p>
            <a:pPr marL="0" marR="0" lvl="0" indent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None/>
            </a:pPr>
            <a:r>
              <a:rPr lang="en-US"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[2] Ni, Jianmo, et al. “Justifying Recommendations Using Distantly-Labeled Reviews and Fine-Grained Aspects.” </a:t>
            </a:r>
            <a:r>
              <a:rPr lang="en-US" sz="1000" b="0" i="1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Proceedings of the 2019 Conference on Empirical Methods in Natural Language Processing and the 9th International Joint Conference on Natural Language Processing (EMNLP-IJCNLP)</a:t>
            </a:r>
            <a:r>
              <a:rPr lang="en-US" sz="1000" b="0" i="0" u="none" strike="noStrike" cap="none">
                <a:solidFill>
                  <a:schemeClr val="dk1"/>
                </a:solidFill>
                <a:latin typeface="Rockwell"/>
                <a:ea typeface="Rockwell"/>
                <a:cs typeface="Rockwell"/>
                <a:sym typeface="Rockwell"/>
              </a:rPr>
              <a:t>, 2019, https://doi.org/10.18653/v1/d19-1018. </a:t>
            </a:r>
            <a:endParaRPr/>
          </a:p>
          <a:p>
            <a:pPr marL="0" marR="0" lvl="0" indent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Noto Sans Symbols"/>
              <a:buNone/>
            </a:pPr>
            <a:endParaRPr sz="1000" b="0" i="0" u="none" strike="noStrike" cap="none">
              <a:solidFill>
                <a:schemeClr val="dk1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F937B79-50A8-495B-8D83-DDFC66A1CDC5}"/>
              </a:ext>
            </a:extLst>
          </p:cNvPr>
          <p:cNvSpPr txBox="1">
            <a:spLocks/>
          </p:cNvSpPr>
          <p:nvPr/>
        </p:nvSpPr>
        <p:spPr>
          <a:xfrm>
            <a:off x="10521949" y="6461346"/>
            <a:ext cx="914400" cy="32004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>
                <a:solidFill>
                  <a:srgbClr val="888888"/>
                </a:solidFill>
                <a:latin typeface="Rockwell" panose="02060603020205020403" pitchFamily="18" charset="0"/>
              </a:rPr>
              <a:pPr algn="r"/>
              <a:t>11</a:t>
            </a:fld>
            <a:endParaRPr lang="en-US" sz="1000" dirty="0">
              <a:solidFill>
                <a:srgbClr val="888888"/>
              </a:solidFill>
              <a:latin typeface="Rockwell" panose="02060603020205020403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p10"/>
          <p:cNvSpPr txBox="1">
            <a:spLocks noGrp="1"/>
          </p:cNvSpPr>
          <p:nvPr>
            <p:ph type="title"/>
          </p:nvPr>
        </p:nvSpPr>
        <p:spPr>
          <a:xfrm>
            <a:off x="680354" y="197121"/>
            <a:ext cx="10711545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Calibri"/>
              <a:buNone/>
            </a:pPr>
            <a:r>
              <a:rPr lang="en-US"/>
              <a:t>Other Limitations of Existing Approaches</a:t>
            </a:r>
            <a:endParaRPr/>
          </a:p>
        </p:txBody>
      </p:sp>
      <p:sp>
        <p:nvSpPr>
          <p:cNvPr id="594" name="Google Shape;594;p10"/>
          <p:cNvSpPr txBox="1">
            <a:spLocks noGrp="1"/>
          </p:cNvSpPr>
          <p:nvPr>
            <p:ph type="body" idx="3"/>
          </p:nvPr>
        </p:nvSpPr>
        <p:spPr>
          <a:xfrm>
            <a:off x="680354" y="1345053"/>
            <a:ext cx="10711545" cy="37873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Text mining research in Marketing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Mostly on market structure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Not fully automated </a:t>
            </a:r>
            <a:endParaRPr dirty="0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Information systems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Use prices or sales ranks to assign values to attribute levels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Why not jointly use numerical ratings together with text reviews? (single source)</a:t>
            </a:r>
            <a:endParaRPr dirty="0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Computer Science 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Natural language processing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Statistical modeling of dependency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Less clear about what marketing decisions these tools can support</a:t>
            </a:r>
            <a:endParaRPr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C04D986-DA1F-4A23-A7E2-213AED4421B8}"/>
              </a:ext>
            </a:extLst>
          </p:cNvPr>
          <p:cNvSpPr txBox="1">
            <a:spLocks/>
          </p:cNvSpPr>
          <p:nvPr/>
        </p:nvSpPr>
        <p:spPr>
          <a:xfrm>
            <a:off x="10521949" y="6461346"/>
            <a:ext cx="914400" cy="32004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en-US" sz="1000" smtClean="0">
                <a:solidFill>
                  <a:srgbClr val="888888"/>
                </a:solidFill>
                <a:latin typeface="Rockwell" panose="02060603020205020403" pitchFamily="18" charset="0"/>
              </a:rPr>
              <a:pPr algn="r"/>
              <a:t>12</a:t>
            </a:fld>
            <a:endParaRPr lang="en-US" sz="1000" dirty="0">
              <a:solidFill>
                <a:srgbClr val="888888"/>
              </a:solidFill>
              <a:latin typeface="Rockwell" panose="02060603020205020403" pitchFamily="18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p12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/>
              <a:t>Questions?</a:t>
            </a:r>
            <a:endParaRPr/>
          </a:p>
        </p:txBody>
      </p:sp>
      <p:sp>
        <p:nvSpPr>
          <p:cNvPr id="606" name="Google Shape;606;p12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None/>
            </a:pPr>
            <a:r>
              <a:rPr lang="en-US"/>
              <a:t>Contact:</a:t>
            </a: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/>
              <a:t>Jay Shim (jayshim0725@gmail.com)</a:t>
            </a: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/>
              <a:t>Minha Hwang (minha.hwang@gmail.com)</a:t>
            </a: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/>
              <a:t>Paras Jain (jain.paras@gmail.com)</a:t>
            </a: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837631-A27B-4D79-BBD7-0756D30B113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3</a:t>
            </a:fld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2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/>
              <a:t>What’s the problem?</a:t>
            </a:r>
            <a:endParaRPr/>
          </a:p>
        </p:txBody>
      </p:sp>
      <p:sp>
        <p:nvSpPr>
          <p:cNvPr id="513" name="Google Shape;513;p2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400" dirty="0"/>
              <a:t>What are the </a:t>
            </a:r>
            <a:r>
              <a:rPr lang="en-US" sz="2400" b="1" u="sng" dirty="0"/>
              <a:t>key attributes</a:t>
            </a:r>
            <a:r>
              <a:rPr lang="en-US" sz="2400" dirty="0"/>
              <a:t> of each product category/ product?</a:t>
            </a:r>
            <a:endParaRPr sz="2400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 sz="2000" dirty="0"/>
              <a:t>Key product attributes that customers care about are oftentimes unknown</a:t>
            </a:r>
            <a:endParaRPr sz="2000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 sz="2000" dirty="0"/>
              <a:t>Marketing research is quite costly, especially for small and medium size businesses </a:t>
            </a:r>
            <a:endParaRPr sz="2000" dirty="0"/>
          </a:p>
          <a:p>
            <a:pPr marL="685800" lvl="1" indent="-11684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None/>
            </a:pPr>
            <a:endParaRPr sz="2000" dirty="0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 sz="2400" dirty="0"/>
              <a:t>How does one product </a:t>
            </a:r>
            <a:r>
              <a:rPr lang="en-US" sz="2400" b="1" u="sng" dirty="0"/>
              <a:t>compare</a:t>
            </a:r>
            <a:r>
              <a:rPr lang="en-US" sz="2400" dirty="0"/>
              <a:t> with competing products </a:t>
            </a:r>
            <a:r>
              <a:rPr lang="en-US" sz="2400" b="1" u="sng" dirty="0"/>
              <a:t>at attributes level</a:t>
            </a:r>
            <a:r>
              <a:rPr lang="en-US" sz="2400" dirty="0"/>
              <a:t>?</a:t>
            </a:r>
            <a:endParaRPr sz="2400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 sz="2000" dirty="0"/>
              <a:t>Identification of key competitor set is important for product positioning and demand modeling</a:t>
            </a:r>
            <a:endParaRPr sz="20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91B689-AD4A-4910-8812-78C2F52041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p4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/>
              <a:t>Why businesses care?</a:t>
            </a:r>
            <a:endParaRPr/>
          </a:p>
        </p:txBody>
      </p:sp>
      <p:sp>
        <p:nvSpPr>
          <p:cNvPr id="519" name="Google Shape;519;p4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38029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400" dirty="0"/>
              <a:t>Identify key gaps in product positioning</a:t>
            </a:r>
            <a:endParaRPr sz="2400" dirty="0"/>
          </a:p>
          <a:p>
            <a:pPr marL="685800" lvl="1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000" dirty="0"/>
              <a:t>Discover product attributes that matter</a:t>
            </a:r>
            <a:endParaRPr sz="2000" dirty="0"/>
          </a:p>
          <a:p>
            <a:pPr marL="685800" lvl="1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000" dirty="0"/>
              <a:t>Drop those that customers want to avoid</a:t>
            </a:r>
          </a:p>
          <a:p>
            <a:pPr marL="685800" lvl="1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endParaRPr sz="2000" dirty="0"/>
          </a:p>
          <a:p>
            <a:pPr marL="228600" lvl="0" indent="-238029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400" dirty="0"/>
              <a:t>Benchmark against the competition</a:t>
            </a:r>
            <a:endParaRPr sz="2400" dirty="0"/>
          </a:p>
          <a:p>
            <a:pPr marL="685800" lvl="1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000" dirty="0"/>
              <a:t>Identify key competitor set and key product differentiation</a:t>
            </a:r>
            <a:endParaRPr sz="2000" dirty="0"/>
          </a:p>
          <a:p>
            <a:pPr marL="685800" lvl="1" indent="-228600" algn="l" rtl="0">
              <a:spcBef>
                <a:spcPts val="0"/>
              </a:spcBef>
              <a:spcAft>
                <a:spcPts val="0"/>
              </a:spcAft>
              <a:buSzPts val="1980"/>
              <a:buChar char="▪"/>
            </a:pPr>
            <a:r>
              <a:rPr lang="en-US" sz="2000" dirty="0"/>
              <a:t>Assess and improve brand loyalty</a:t>
            </a:r>
            <a:endParaRPr sz="20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89A1FC-40C0-4F6E-8407-4BD606EB909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9A4FC8-0992-4C1D-80B0-9EAE4371F1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899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4" name="Google Shape;524;p5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What solutions they use now?</a:t>
            </a:r>
            <a:endParaRPr dirty="0"/>
          </a:p>
        </p:txBody>
      </p:sp>
      <p:sp>
        <p:nvSpPr>
          <p:cNvPr id="525" name="Google Shape;525;p5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Traditional marketing research techniques that have their limitations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Surveys: require pre-defined structure/categories</a:t>
            </a:r>
            <a:endParaRPr sz="2000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Focused group interviews: small sample size (~30), subjective interpretation of interview notes</a:t>
            </a:r>
            <a:endParaRPr sz="2000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Customer observations: small sample size, subjective</a:t>
            </a:r>
            <a:endParaRPr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6864D7-DDCE-4589-A802-255B96FBF81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C43F9A-6768-4416-BA66-4AA976E223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785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0" name="Google Shape;530;p6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Key challenges?</a:t>
            </a:r>
            <a:endParaRPr dirty="0"/>
          </a:p>
        </p:txBody>
      </p:sp>
      <p:sp>
        <p:nvSpPr>
          <p:cNvPr id="531" name="Google Shape;531;p6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indent="-228600">
              <a:spcBef>
                <a:spcPts val="0"/>
              </a:spcBef>
              <a:buSzPct val="110000"/>
            </a:pPr>
            <a:r>
              <a:rPr lang="en-US" sz="2400" dirty="0"/>
              <a:t>Digital camera reviews corpus had more than 6.3 million words (in more than 305,000 sentences) from which to identify attributes</a:t>
            </a:r>
          </a:p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endParaRPr lang="en-US" sz="2400" dirty="0"/>
          </a:p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Review consists of many sentences, and an attribute can be discussed in more than one sentence in a review with varying sentiment leve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395BC0-F6B3-43EC-AC7E-A562502F8B6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207B5C-3BEF-4A22-A08E-442DC59561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621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4" name="Google Shape;524;p5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How we did it?</a:t>
            </a:r>
            <a:endParaRPr dirty="0"/>
          </a:p>
        </p:txBody>
      </p:sp>
      <p:sp>
        <p:nvSpPr>
          <p:cNvPr id="525" name="Google Shape;525;p5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28634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We focused on “key product attribute extraction” and “associated sentiment score” at product level</a:t>
            </a:r>
            <a:endParaRPr sz="2000" dirty="0"/>
          </a:p>
          <a:p>
            <a:pPr marL="685800" lvl="1" indent="-22863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Define “key attributes” based on automated extraction of attributes through Topic Modeling</a:t>
            </a:r>
            <a:endParaRPr sz="2000" dirty="0"/>
          </a:p>
          <a:p>
            <a:pPr marL="685800" lvl="1" indent="-22863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Used Sentence Transformers to obtain sentiment score for all identified attributes of each product</a:t>
            </a:r>
          </a:p>
          <a:p>
            <a:pPr marL="685800" lvl="1" indent="-228634">
              <a:buSzPct val="110000"/>
            </a:pPr>
            <a:r>
              <a:rPr lang="en-US" sz="2000" dirty="0"/>
              <a:t>Summarize consumer “opinions” for each product based on attributes</a:t>
            </a:r>
            <a:endParaRPr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3AB010-1D86-4FA0-A2EF-0B4B2D20623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843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8ECFCD-B859-4F1F-A74C-DCA7FBA26D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529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0" name="Google Shape;530;p6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How we did it? </a:t>
            </a:r>
            <a:br>
              <a:rPr lang="en-US" dirty="0"/>
            </a:br>
            <a:r>
              <a:rPr lang="en-US" dirty="0"/>
              <a:t>…Cont’d</a:t>
            </a:r>
            <a:endParaRPr dirty="0"/>
          </a:p>
        </p:txBody>
      </p:sp>
      <p:sp>
        <p:nvSpPr>
          <p:cNvPr id="531" name="Google Shape;531;p6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85000" lnSpcReduction="10000"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Attribute identification</a:t>
            </a:r>
            <a:endParaRPr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Texts are transformed to collection of nouns and verbs using POS tagging</a:t>
            </a:r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Topic modeling (unsupervised clustering technique) is used to discover latent semantic structure in this text body</a:t>
            </a:r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endParaRPr lang="en-US" sz="2000" dirty="0"/>
          </a:p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10000"/>
              <a:buChar char="▪"/>
            </a:pPr>
            <a:r>
              <a:rPr lang="en-US" sz="2400" dirty="0"/>
              <a:t>Sentiment score</a:t>
            </a:r>
            <a:endParaRPr lang="en-US" dirty="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Texts are transformed to sentences and Hugging Face’s Sentence Transformers is used to obtain sentence embeddings</a:t>
            </a:r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/>
              <a:t>Cosine similarity with label sentences (one each for ratings 1-5) is then obtained to determine sentiment scoring</a:t>
            </a:r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ct val="110000"/>
              <a:buChar char="▪"/>
            </a:pPr>
            <a:r>
              <a:rPr lang="en-US" sz="2000" dirty="0" err="1"/>
              <a:t>Attribute:Sentiment</a:t>
            </a:r>
            <a:r>
              <a:rPr lang="en-US" sz="2000" dirty="0"/>
              <a:t> scores are aggregated to get attribute level sentiment score for each produ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615BA8-49E3-4EC9-8FC4-8664A6B1476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917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3C4A67-0AB1-4719-BBFD-940588EE9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73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F8677D-E305-4468-ACD4-043E7B1EE0A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8</a:t>
            </a:fld>
            <a:endParaRPr lang="en-US"/>
          </a:p>
        </p:txBody>
      </p:sp>
      <p:sp>
        <p:nvSpPr>
          <p:cNvPr id="518" name="Google Shape;518;p4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Demo</a:t>
            </a:r>
            <a:endParaRPr dirty="0"/>
          </a:p>
        </p:txBody>
      </p:sp>
      <p:sp>
        <p:nvSpPr>
          <p:cNvPr id="519" name="Google Shape;519;p4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None/>
            </a:pPr>
            <a:r>
              <a:rPr lang="en-US" dirty="0">
                <a:hlinkClick r:id="rId7"/>
              </a:rPr>
              <a:t>https://automr-app.herokuapp.com</a:t>
            </a:r>
            <a:endParaRPr lang="en-US" dirty="0"/>
          </a:p>
          <a:p>
            <a:pPr marL="228600" lvl="0" indent="-238029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endParaRPr lang="en-US" dirty="0"/>
          </a:p>
          <a:p>
            <a:pPr marL="228600" lvl="0" indent="-238029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775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3C4A67-0AB1-4719-BBFD-940588EE93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3C4A67-0AB1-4719-BBFD-940588EE9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8" name="Google Shape;518;p4"/>
          <p:cNvSpPr txBox="1"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600" tIns="228600" rIns="228600" bIns="228600" anchor="ctr" anchorCtr="0">
            <a:normAutofit fontScale="90000"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EFF"/>
              </a:buClr>
              <a:buSzPts val="4000"/>
              <a:buFont typeface="Calibri"/>
              <a:buNone/>
            </a:pPr>
            <a:r>
              <a:rPr lang="en-US" dirty="0"/>
              <a:t>Potential future enhancements</a:t>
            </a:r>
            <a:endParaRPr dirty="0"/>
          </a:p>
        </p:txBody>
      </p:sp>
      <p:sp>
        <p:nvSpPr>
          <p:cNvPr id="519" name="Google Shape;519;p4"/>
          <p:cNvSpPr txBox="1">
            <a:spLocks noGrp="1"/>
          </p:cNvSpPr>
          <p:nvPr>
            <p:ph type="body" idx="1"/>
          </p:nvPr>
        </p:nvSpPr>
        <p:spPr>
          <a:xfrm>
            <a:off x="5118447" y="803186"/>
            <a:ext cx="6281873" cy="524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38029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 dirty="0"/>
              <a:t>Extend the solution to other product categories</a:t>
            </a:r>
          </a:p>
          <a:p>
            <a:pPr marL="228600" lvl="0" indent="-238029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 dirty="0"/>
              <a:t>Scrape the internet (Twitter, Instagram, etc.) for more customer feedback</a:t>
            </a:r>
          </a:p>
          <a:p>
            <a:pPr marL="228600" lvl="0" indent="-238029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1980"/>
              <a:buChar char="▪"/>
            </a:pPr>
            <a:r>
              <a:rPr lang="en-US" dirty="0"/>
              <a:t>Data fusion with POS (i.e. point-of-sale data) to build demand model </a:t>
            </a:r>
            <a:endParaRPr dirty="0"/>
          </a:p>
          <a:p>
            <a:pPr marL="685800" lvl="1" indent="-23698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 dirty="0"/>
              <a:t>Use identified key product attributes and purchase structure in subsequent demand modeling </a:t>
            </a:r>
            <a:endParaRPr dirty="0"/>
          </a:p>
          <a:p>
            <a:pPr marL="1143000" lvl="2" indent="-23593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540"/>
              <a:buChar char="▪"/>
            </a:pPr>
            <a:r>
              <a:rPr lang="en-US" dirty="0"/>
              <a:t> Joint pricing: cross price elasticity </a:t>
            </a:r>
            <a:endParaRPr dirty="0"/>
          </a:p>
          <a:p>
            <a:pPr marL="1143000" lvl="2" indent="-23593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540"/>
              <a:buChar char="▪"/>
            </a:pPr>
            <a:r>
              <a:rPr lang="en-US" dirty="0"/>
              <a:t>Promotion ROI: source of volume – cannibalization, competitive draw, category expansion </a:t>
            </a:r>
            <a:endParaRPr dirty="0"/>
          </a:p>
          <a:p>
            <a:pPr marL="685800" lvl="1" indent="-23698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1760"/>
              <a:buChar char="▪"/>
            </a:pPr>
            <a:r>
              <a:rPr lang="en-US" dirty="0"/>
              <a:t>Market simulation - Predict customer purchase behavior with changes in product attributes or new product entry </a:t>
            </a:r>
            <a:endParaRPr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CE4BF2-FB0A-4E0B-9D50-955DCB03DE5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87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tlas">
  <a:themeElements>
    <a:clrScheme name="Custom 6">
      <a:dk1>
        <a:srgbClr val="000000"/>
      </a:dk1>
      <a:lt1>
        <a:srgbClr val="FFFFFF"/>
      </a:lt1>
      <a:dk2>
        <a:srgbClr val="454551"/>
      </a:dk2>
      <a:lt2>
        <a:srgbClr val="D8D9DC"/>
      </a:lt2>
      <a:accent1>
        <a:srgbClr val="FF5A5F"/>
      </a:accent1>
      <a:accent2>
        <a:srgbClr val="00A699"/>
      </a:accent2>
      <a:accent3>
        <a:srgbClr val="FC642D"/>
      </a:accent3>
      <a:accent4>
        <a:srgbClr val="00A699"/>
      </a:accent4>
      <a:accent5>
        <a:srgbClr val="767676"/>
      </a:accent5>
      <a:accent6>
        <a:srgbClr val="D54773"/>
      </a:accent6>
      <a:hlink>
        <a:srgbClr val="6B9F25"/>
      </a:hlink>
      <a:folHlink>
        <a:srgbClr val="8C8C8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</TotalTime>
  <Words>731</Words>
  <Application>Microsoft Office PowerPoint</Application>
  <PresentationFormat>Widescreen</PresentationFormat>
  <Paragraphs>90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Noto Sans Symbols</vt:lpstr>
      <vt:lpstr>Rockwell</vt:lpstr>
      <vt:lpstr>Atlas</vt:lpstr>
      <vt:lpstr>think-cell Slide</vt:lpstr>
      <vt:lpstr>AutoMR (Automated Marketing Research)</vt:lpstr>
      <vt:lpstr>What’s the problem?</vt:lpstr>
      <vt:lpstr>Why businesses care?</vt:lpstr>
      <vt:lpstr>What solutions they use now?</vt:lpstr>
      <vt:lpstr>Key challenges?</vt:lpstr>
      <vt:lpstr>How we did it?</vt:lpstr>
      <vt:lpstr>How we did it?  …Cont’d</vt:lpstr>
      <vt:lpstr>Demo</vt:lpstr>
      <vt:lpstr>Potential future enhancements</vt:lpstr>
      <vt:lpstr>Appendix</vt:lpstr>
      <vt:lpstr>References and Datasets</vt:lpstr>
      <vt:lpstr>Other Limitations of Existing Approache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Advisor:  Know What Matters</dc:title>
  <dc:creator>Paras Jain</dc:creator>
  <cp:lastModifiedBy>Paras Jain</cp:lastModifiedBy>
  <cp:revision>10</cp:revision>
  <dcterms:created xsi:type="dcterms:W3CDTF">2021-09-30T04:20:51Z</dcterms:created>
  <dcterms:modified xsi:type="dcterms:W3CDTF">2021-11-15T15:3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